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6"/>
  </p:notesMasterIdLst>
  <p:sldIdLst>
    <p:sldId id="376" r:id="rId2"/>
    <p:sldId id="363" r:id="rId3"/>
    <p:sldId id="380" r:id="rId4"/>
    <p:sldId id="381" r:id="rId5"/>
  </p:sldIdLst>
  <p:sldSz cx="12801600" cy="9601200" type="A3"/>
  <p:notesSz cx="6761163" cy="9942513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6D9409FD-58AA-42CA-ABB0-DB925D5E4777}">
          <p14:sldIdLst>
            <p14:sldId id="376"/>
            <p14:sldId id="363"/>
            <p14:sldId id="380"/>
            <p14:sldId id="3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A0286D"/>
    <a:srgbClr val="8A1851"/>
    <a:srgbClr val="FFFF99"/>
    <a:srgbClr val="AD0101"/>
    <a:srgbClr val="FFCDCD"/>
    <a:srgbClr val="6699FF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29" autoAdjust="0"/>
  </p:normalViewPr>
  <p:slideViewPr>
    <p:cSldViewPr snapToGrid="0">
      <p:cViewPr varScale="1">
        <p:scale>
          <a:sx n="49" d="100"/>
          <a:sy n="49" d="100"/>
        </p:scale>
        <p:origin x="1404" y="54"/>
      </p:cViewPr>
      <p:guideLst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24" y="768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9763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B7FEED-C190-4810-913F-7438EE41104D}" type="datetimeFigureOut">
              <a:rPr lang="en-GB" smtClean="0"/>
              <a:pPr/>
              <a:t>26/0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6175" y="1244600"/>
            <a:ext cx="4468813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3663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9763" y="9443663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7550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313230" y="2103197"/>
            <a:ext cx="12309231" cy="5799863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31410" y="2103201"/>
            <a:ext cx="9076985" cy="3950640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27" b="0" i="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1411" y="2103204"/>
            <a:ext cx="8436760" cy="2635171"/>
          </a:xfrm>
        </p:spPr>
        <p:txBody>
          <a:bodyPr bIns="234000" anchor="b">
            <a:normAutofit/>
          </a:bodyPr>
          <a:lstStyle>
            <a:lvl1pPr marL="574445" indent="0" algn="l">
              <a:defRPr sz="2327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53455" y="2555875"/>
            <a:ext cx="11961495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20040" indent="-32004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168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53453" y="8898896"/>
            <a:ext cx="312039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640080" rtl="0" eaLnBrk="1" latinLnBrk="0" hangingPunct="1">
              <a:defRPr sz="168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40080" lvl="1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lvl="2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lvl="3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lvl="4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lvl="5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lvl="6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lvl="7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lvl="8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93910" y="8898896"/>
            <a:ext cx="468058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640080" rtl="0" eaLnBrk="1" latinLnBrk="0" hangingPunct="1">
              <a:defRPr sz="168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640080" lvl="1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80160" lvl="2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lvl="3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60320" lvl="4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00400" lvl="5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840480" lvl="6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80560" lvl="7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20640" lvl="8" algn="l" defTabSz="640080" rtl="0" eaLnBrk="1" latinLnBrk="0" hangingPunct="1"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3545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14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8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42347" y="1382397"/>
            <a:ext cx="6480810" cy="6823075"/>
          </a:xfrm>
        </p:spPr>
        <p:txBody>
          <a:bodyPr anchor="t"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896910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043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17389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835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121015" cy="813657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81008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E5183F6-3C7E-44B3-B6D9-562EABFC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689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809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584"/>
            </a:lvl2pPr>
            <a:lvl3pPr marL="1181716" indent="0" algn="ctr">
              <a:buNone/>
              <a:defRPr sz="2327"/>
            </a:lvl3pPr>
            <a:lvl4pPr marL="1772574" indent="0" algn="ctr">
              <a:buNone/>
              <a:defRPr sz="2068"/>
            </a:lvl4pPr>
            <a:lvl5pPr marL="2363431" indent="0" algn="ctr">
              <a:buNone/>
              <a:defRPr sz="2068"/>
            </a:lvl5pPr>
            <a:lvl6pPr marL="2954290" indent="0" algn="ctr">
              <a:buNone/>
              <a:defRPr sz="2068"/>
            </a:lvl6pPr>
            <a:lvl7pPr marL="3545147" indent="0" algn="ctr">
              <a:buNone/>
              <a:defRPr sz="2068"/>
            </a:lvl7pPr>
            <a:lvl8pPr marL="4136005" indent="0" algn="ctr">
              <a:buNone/>
              <a:defRPr sz="2068"/>
            </a:lvl8pPr>
            <a:lvl9pPr marL="4726863" indent="0" algn="ctr">
              <a:buNone/>
              <a:defRPr sz="2068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551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33F1CC9C-143B-4356-8795-BC71F3F60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06450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23156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1248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6981636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2086" y="378652"/>
            <a:ext cx="11877429" cy="38779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462085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3446827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6431571" y="1880731"/>
            <a:ext cx="2923200" cy="6144275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3446828" y="1492889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Заделы региона</a:t>
            </a:r>
            <a:endParaRPr lang="en-GB" sz="1540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6431571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Тренды отрасли</a:t>
            </a:r>
            <a:endParaRPr lang="en-GB" sz="154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462085" y="2075130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1.1. Ключевые показате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462085" y="5177496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1.2. Связанные отрас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3446827" y="2075128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1. Топ</a:t>
            </a:r>
            <a:r>
              <a:rPr lang="en-US" sz="1400" b="1" dirty="0">
                <a:solidFill>
                  <a:schemeClr val="bg1"/>
                </a:solidFill>
              </a:rPr>
              <a:t>-5 </a:t>
            </a:r>
            <a:r>
              <a:rPr lang="ru-RU" sz="1400" b="1" dirty="0">
                <a:solidFill>
                  <a:schemeClr val="bg1"/>
                </a:solidFill>
              </a:rPr>
              <a:t>орг-ий </a:t>
            </a:r>
            <a:r>
              <a:rPr lang="en-GB" sz="1400" b="1" dirty="0">
                <a:solidFill>
                  <a:schemeClr val="bg1"/>
                </a:solidFill>
              </a:rPr>
              <a:t>(&gt;50 </a:t>
            </a:r>
            <a:r>
              <a:rPr lang="ru-RU" sz="1400" b="1" dirty="0">
                <a:solidFill>
                  <a:schemeClr val="bg1"/>
                </a:solidFill>
              </a:rPr>
              <a:t>млн р.)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3446827" y="3846468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2 Ключевые продукты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9416313" y="1880731"/>
            <a:ext cx="2923200" cy="6144275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3446827" y="517749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2.3. Ресурсы: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9416313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Ins="0"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Возможности локализации</a:t>
            </a:r>
            <a:endParaRPr lang="en-GB" sz="1540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6431571" y="2075129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3.1. Мировые тренд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6455344" y="2366088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Новые продукты:</a:t>
            </a:r>
            <a:endParaRPr lang="en-GB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6431571" y="5177496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3.2. Российские тренд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476309" y="2366089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Производство</a:t>
            </a:r>
            <a:r>
              <a:rPr lang="en-US" sz="1400" dirty="0"/>
              <a:t> (2017)</a:t>
            </a:r>
            <a:r>
              <a:rPr lang="ru-RU" sz="1400" dirty="0"/>
              <a:t>, млрд руб.</a:t>
            </a:r>
            <a:endParaRPr lang="en-GB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476309" y="3846470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Рабочие места</a:t>
            </a:r>
            <a:r>
              <a:rPr lang="en-US" sz="1400" dirty="0"/>
              <a:t> (2017)</a:t>
            </a:r>
            <a:r>
              <a:rPr lang="ru-RU" sz="1400" dirty="0"/>
              <a:t>, тыс. ед.</a:t>
            </a:r>
            <a:endParaRPr lang="en-GB" sz="14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3470604" y="2366089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1400" dirty="0"/>
              <a:t>Выручка (2017), млрд руб.</a:t>
            </a:r>
            <a:endParaRPr lang="en-GB" sz="1400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3470604" y="5488792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Природные ресурсы:</a:t>
            </a:r>
            <a:endParaRPr lang="en-GB" sz="1400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3470604" y="6732186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Человеческий потенциал:</a:t>
            </a:r>
            <a:endParaRPr lang="en-GB" sz="14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6455344" y="3837715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Растущие рынки:</a:t>
            </a:r>
            <a:endParaRPr lang="en-GB" sz="14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6455348" y="5488792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Госполитика:</a:t>
            </a:r>
            <a:endParaRPr lang="en-GB" sz="14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6455348" y="6732185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Импортозамещение:</a:t>
            </a:r>
            <a:endParaRPr lang="en-GB" sz="1400" dirty="0"/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446825" y="4144187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68989" y="5739355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445790" y="5739355"/>
            <a:ext cx="2864659" cy="963949"/>
          </a:xfrm>
          <a:prstGeom prst="rect">
            <a:avLst/>
          </a:prstGeom>
        </p:spPr>
        <p:txBody>
          <a:bodyPr lIns="54000" tIns="0" rIns="0" bIns="0"/>
          <a:lstStyle>
            <a:lvl1pPr marL="0" indent="504508"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468984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431566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31571" y="2636796"/>
            <a:ext cx="2878879" cy="1105066"/>
          </a:xfrm>
          <a:prstGeom prst="rect">
            <a:avLst/>
          </a:prstGeom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/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1566" y="4144187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476309" y="5488793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Отрасли-поставщики:</a:t>
            </a:r>
            <a:endParaRPr lang="en-GB" sz="1400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476309" y="6732186"/>
            <a:ext cx="2772000" cy="2154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1400" dirty="0"/>
              <a:t>Отрасли-потребители:</a:t>
            </a:r>
            <a:endParaRPr lang="en-GB" sz="1400" dirty="0"/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6309" y="5739355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6309" y="6976512"/>
            <a:ext cx="2878879" cy="96394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1400" dirty="0"/>
            </a:lvl1pPr>
          </a:lstStyle>
          <a:p>
            <a:pPr marL="0" lvl="0" indent="246698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9416313" y="2075127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1. Поставщик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9416313" y="383771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2. Потребители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9416313" y="5165627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3. Ремонт/монтаж оборуд-ия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9416313" y="6732185"/>
            <a:ext cx="2872800" cy="215444"/>
          </a:xfrm>
          <a:prstGeom prst="rect">
            <a:avLst/>
          </a:prstGeom>
          <a:solidFill>
            <a:schemeClr val="tx1"/>
          </a:solidFill>
        </p:spPr>
        <p:txBody>
          <a:bodyPr wrap="square" lIns="75600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1400" dirty="0">
                <a:solidFill>
                  <a:schemeClr val="bg1"/>
                </a:solidFill>
              </a:rPr>
              <a:t>4.4. Новые продукты: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16313" y="2366089"/>
            <a:ext cx="2878879" cy="1375773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6313" y="4144186"/>
            <a:ext cx="2878879" cy="992558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6313" y="5488793"/>
            <a:ext cx="2878879" cy="1214511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16313" y="6976512"/>
            <a:ext cx="2878879" cy="963949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tx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476309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3461052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6445795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9430537" y="8068587"/>
            <a:ext cx="2908976" cy="145081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528" dirty="0"/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4149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1538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28927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246698">
              <a:lnSpc>
                <a:spcPct val="100000"/>
              </a:lnSpc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16315" y="8273669"/>
            <a:ext cx="2923199" cy="96394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246698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  <a:lvl2pPr>
              <a:defRPr sz="1540"/>
            </a:lvl2pPr>
            <a:lvl3pPr>
              <a:defRPr sz="1540"/>
            </a:lvl3pPr>
            <a:lvl4pPr>
              <a:defRPr sz="1540"/>
            </a:lvl4pPr>
            <a:lvl5pPr>
              <a:defRPr sz="1540"/>
            </a:lvl5pPr>
          </a:lstStyle>
          <a:p>
            <a:pPr marL="0" marR="0" lvl="0" indent="246698" algn="l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462085" y="1492718"/>
            <a:ext cx="2923200" cy="514696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540" b="1" dirty="0"/>
              <a:t>Описание отрасли</a:t>
            </a:r>
            <a:endParaRPr lang="en-GB" sz="1540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3404156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2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6388899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3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419413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1</a:t>
            </a:r>
            <a:endParaRPr lang="en-GB" sz="1540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9373641" y="1366291"/>
            <a:ext cx="252000" cy="252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1540" b="1" dirty="0">
                <a:solidFill>
                  <a:schemeClr val="bg1"/>
                </a:solidFill>
              </a:rPr>
              <a:t>4</a:t>
            </a:r>
            <a:endParaRPr lang="en-GB" sz="154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239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763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2783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7703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8863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624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31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571308"/>
            <a:ext cx="1088136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63938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28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2458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110" y="585888"/>
            <a:ext cx="11041380" cy="1706365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921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6506"/>
              </p:ext>
            </p:ext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6688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445057" y="253367"/>
            <a:ext cx="11911488" cy="10644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25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055" y="272191"/>
            <a:ext cx="11911488" cy="1108800"/>
          </a:xfrm>
        </p:spPr>
        <p:txBody>
          <a:bodyPr lIns="0" tIns="0" rIns="0" bIns="0">
            <a:noAutofit/>
          </a:bodyPr>
          <a:lstStyle>
            <a:lvl1pPr>
              <a:defRPr sz="3360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1240" y="907342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1813561"/>
            <a:ext cx="12048173" cy="4716145"/>
          </a:xfrm>
        </p:spPr>
        <p:txBody>
          <a:bodyPr>
            <a:normAutofit/>
          </a:bodyPr>
          <a:lstStyle>
            <a:lvl1pPr>
              <a:defRPr sz="3360"/>
            </a:lvl1pPr>
            <a:lvl2pPr marL="960120" indent="-320040">
              <a:buFont typeface="Arial" panose="020B0604020202020204" pitchFamily="34" charset="0"/>
              <a:buChar char="−"/>
              <a:defRPr sz="2800"/>
            </a:lvl2pPr>
            <a:lvl3pPr marL="1600200" indent="-320040">
              <a:buFont typeface="Wingdings" panose="05000000000000000000" pitchFamily="2" charset="2"/>
              <a:buChar char="§"/>
              <a:defRPr sz="2520"/>
            </a:lvl3pPr>
            <a:lvl4pPr marL="2240280" indent="-320040">
              <a:buFont typeface="Courier New" panose="02070309020205020404" pitchFamily="49" charset="0"/>
              <a:buChar char="o"/>
              <a:defRPr sz="2240"/>
            </a:lvl4pPr>
            <a:lvl5pPr marL="2880360" indent="-320040">
              <a:buFont typeface="Wingdings" panose="05000000000000000000" pitchFamily="2" charset="2"/>
              <a:buChar char="ü"/>
              <a:defRPr sz="224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68068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72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96840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372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8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5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50"/>
            <a:ext cx="1104138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/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17426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094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89322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440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7" y="511177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1" y="2353628"/>
            <a:ext cx="5442347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1" y="3507105"/>
            <a:ext cx="5442347" cy="51584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538115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565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43767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28419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6347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8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347" y="1382397"/>
            <a:ext cx="648081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82649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pPr/>
              <a:t>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1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14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50" r:id="rId14"/>
    <p:sldLayoutId id="2147483652" r:id="rId15"/>
    <p:sldLayoutId id="2147483651" r:id="rId16"/>
    <p:sldLayoutId id="2147483683" r:id="rId17"/>
    <p:sldLayoutId id="2147483684" r:id="rId18"/>
    <p:sldLayoutId id="2147483685" r:id="rId19"/>
    <p:sldLayoutId id="2147483686" r:id="rId20"/>
    <p:sldLayoutId id="2147483690" r:id="rId21"/>
    <p:sldLayoutId id="2147483692" r:id="rId22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C535AC-829C-423C-AAD6-A65EA3FAA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616269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226AE4-5AB7-4A6E-BD88-B2F1E2C0A8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24AAD0-360C-4519-AA67-886C13422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316" y="2857080"/>
            <a:ext cx="8911159" cy="2124749"/>
          </a:xfrm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50000"/>
              </a:lnSpc>
            </a:pPr>
            <a:r>
              <a:rPr lang="ru-RU" sz="3200" dirty="0"/>
              <a:t>Оформление бесхозяйных объектов электросетевого комплекса в</a:t>
            </a:r>
            <a:br>
              <a:rPr lang="ru-RU" sz="3200" dirty="0"/>
            </a:br>
            <a:r>
              <a:rPr lang="ru-RU" sz="3200" dirty="0"/>
              <a:t>муниципальную собственность</a:t>
            </a:r>
            <a:endParaRPr lang="en-GB" sz="3200" dirty="0"/>
          </a:p>
        </p:txBody>
      </p:sp>
      <p:pic>
        <p:nvPicPr>
          <p:cNvPr id="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C2835199-5375-4D78-8F6F-26A840D61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826" y="301491"/>
            <a:ext cx="1404000" cy="166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224AAD0-360C-4519-AA67-886C13422A9C}"/>
              </a:ext>
            </a:extLst>
          </p:cNvPr>
          <p:cNvSpPr txBox="1">
            <a:spLocks/>
          </p:cNvSpPr>
          <p:nvPr/>
        </p:nvSpPr>
        <p:spPr>
          <a:xfrm>
            <a:off x="305612" y="7853331"/>
            <a:ext cx="8911159" cy="123110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574445" indent="0"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27" b="1" kern="1200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>
              <a:lnSpc>
                <a:spcPct val="100000"/>
              </a:lnSpc>
            </a:pPr>
            <a:r>
              <a:rPr lang="ru-RU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</a:t>
            </a:r>
          </a:p>
          <a:p>
            <a:pPr marL="0">
              <a:lnSpc>
                <a:spcPct val="100000"/>
              </a:lnSpc>
            </a:pPr>
            <a:r>
              <a:rPr lang="ru-RU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руководителя – начальник отдела                   </a:t>
            </a:r>
          </a:p>
          <a:p>
            <a:pPr marL="0">
              <a:lnSpc>
                <a:spcPct val="100000"/>
              </a:lnSpc>
            </a:pPr>
            <a:r>
              <a:rPr lang="ru-RU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нозирования, анализа и тарифов ТЭК РСТ Забайкальского края Казанцева Анна Игоревна, тел. 21 75 68</a:t>
            </a:r>
            <a:endParaRPr lang="en-GB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38113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Номер слайда 4"/>
          <p:cNvSpPr txBox="1">
            <a:spLocks/>
          </p:cNvSpPr>
          <p:nvPr/>
        </p:nvSpPr>
        <p:spPr>
          <a:xfrm>
            <a:off x="11813768" y="9148314"/>
            <a:ext cx="987832" cy="452887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8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4" name="Номер слайда 4"/>
          <p:cNvSpPr txBox="1">
            <a:spLocks/>
          </p:cNvSpPr>
          <p:nvPr/>
        </p:nvSpPr>
        <p:spPr>
          <a:xfrm>
            <a:off x="9921240" y="9148313"/>
            <a:ext cx="2880360" cy="452887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8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582" name="Picture 6" descr="C:\Users\skornikova\Downloads\map-7pack-siberia2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D0D0D0"/>
              </a:clrFrom>
              <a:clrTo>
                <a:srgbClr val="D0D0D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lum bright="10000" contrast="20000"/>
          </a:blip>
          <a:srcRect/>
          <a:stretch>
            <a:fillRect/>
          </a:stretch>
        </p:blipFill>
        <p:spPr bwMode="auto">
          <a:xfrm rot="732754">
            <a:off x="-1998122" y="48113"/>
            <a:ext cx="13640967" cy="7745038"/>
          </a:xfrm>
          <a:prstGeom prst="rect">
            <a:avLst/>
          </a:prstGeom>
          <a:noFill/>
        </p:spPr>
      </p:pic>
      <p:sp>
        <p:nvSpPr>
          <p:cNvPr id="19" name="Заголовок 1"/>
          <p:cNvSpPr txBox="1">
            <a:spLocks/>
          </p:cNvSpPr>
          <p:nvPr/>
        </p:nvSpPr>
        <p:spPr>
          <a:xfrm>
            <a:off x="630993" y="447886"/>
            <a:ext cx="10879689" cy="6909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2800"/>
              </a:lnSpc>
            </a:pPr>
            <a:r>
              <a:rPr lang="ru-RU" sz="2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ЕСХОЗЯЙНЫЕ ЭЛЕКТРОСЕТЕВЫЕ ОБЪЕКТЫ ЗАБАЙКАЛЬСКОГО КРА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lum bright="4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contrast="-9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480" y="6067874"/>
            <a:ext cx="1546080" cy="1696876"/>
          </a:xfrm>
          <a:prstGeom prst="rect">
            <a:avLst/>
          </a:prstGeom>
        </p:spPr>
      </p:pic>
      <p:sp>
        <p:nvSpPr>
          <p:cNvPr id="22" name="Скругленная прямоугольная выноска 21"/>
          <p:cNvSpPr/>
          <p:nvPr/>
        </p:nvSpPr>
        <p:spPr>
          <a:xfrm>
            <a:off x="9217152" y="1965576"/>
            <a:ext cx="3443591" cy="4066606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знание муниципального права собственности на бесхозяйные объекты дает возможность сетевым компаниям принимать на себя все обязательства по их обслуживанию и гарантирует качество и надежность электроснабжения</a:t>
            </a:r>
            <a:endParaRPr lang="ru-R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3567596"/>
              </p:ext>
            </p:extLst>
          </p:nvPr>
        </p:nvGraphicFramePr>
        <p:xfrm>
          <a:off x="207264" y="1719075"/>
          <a:ext cx="8754365" cy="4477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77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00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4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17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2018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(Основной текст)"/>
                        </a:rPr>
                        <a:t>Район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(Основной текст)"/>
                        </a:rPr>
                        <a:t>Линии электропередачи, шт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 (Основной текст)"/>
                        </a:rPr>
                        <a:t>Протяженность бесхозяйных линий электропередачи, к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801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 (Основной текст)"/>
                        </a:rPr>
                        <a:t>Трансформаторные подстанции, шт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Читинский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Балей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Борзин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088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Краснокамен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Карым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82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Приаргунский муниципальный окру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Могойтуй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Нерчинский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Шелопугин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1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Чернышевский район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Прочие районы и округ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3,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 (Основной текст)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61706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Arial (Основной текст)"/>
                        </a:rPr>
                        <a:t>Итого по Забайкальскому краю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10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 (Основной текст)"/>
                        </a:rPr>
                        <a:t>2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4" name="Скругленная прямоугольная выноска 23"/>
          <p:cNvSpPr/>
          <p:nvPr/>
        </p:nvSpPr>
        <p:spPr>
          <a:xfrm>
            <a:off x="207264" y="6853027"/>
            <a:ext cx="12258407" cy="1474440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 РСТ Забайкальского края </a:t>
            </a:r>
          </a:p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совместно с </a:t>
            </a:r>
            <a:r>
              <a:rPr lang="ru-RU" sz="2000" b="1" dirty="0" err="1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МинЖКХ</a:t>
            </a:r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, Департаментом госимущества Забайкальского края, региональными сетевыми компаниями проводит оценку влияния на размеров тарифов дополнительных расходов, связанных принятием на обслуживание бесхозяйных объектов</a:t>
            </a:r>
            <a:endParaRPr lang="ru-R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1920" y="9106987"/>
            <a:ext cx="549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*по данным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нЖКХ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байкальского края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605" y="137016"/>
            <a:ext cx="10966451" cy="1106685"/>
          </a:xfrm>
        </p:spPr>
        <p:txBody>
          <a:bodyPr>
            <a:normAutofit/>
          </a:bodyPr>
          <a:lstStyle/>
          <a:p>
            <a:pPr>
              <a:lnSpc>
                <a:spcPts val="2800"/>
              </a:lnSpc>
            </a:pPr>
            <a:r>
              <a:rPr lang="ru-RU" sz="2300" dirty="0"/>
              <a:t>ПРОЦЕДУРА  ПРИЗНАНИЯ БЕСХОЗЯЙНОГО ОБЪЕКТА МУНИЦИПАЛЬНОЙ СОБСТВЕННОСТЬЮ (ст. 225 ГК РФ)</a:t>
            </a:r>
          </a:p>
        </p:txBody>
      </p:sp>
      <p:sp>
        <p:nvSpPr>
          <p:cNvPr id="12" name="Скругленная прямоугольная выноска 11"/>
          <p:cNvSpPr/>
          <p:nvPr/>
        </p:nvSpPr>
        <p:spPr>
          <a:xfrm>
            <a:off x="588992" y="1560745"/>
            <a:ext cx="6047232" cy="1241040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Запрос сведений о факте наличия собственника (</a:t>
            </a:r>
            <a:r>
              <a:rPr lang="ru-RU" sz="2000" b="1" dirty="0" err="1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Росимущество</a:t>
            </a:r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, БТИ, Департамент госимущества)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3496308" y="2801785"/>
            <a:ext cx="5035043" cy="902209"/>
            <a:chOff x="3130771" y="4494765"/>
            <a:chExt cx="5035043" cy="902209"/>
          </a:xfrm>
        </p:grpSpPr>
        <p:grpSp>
          <p:nvGrpSpPr>
            <p:cNvPr id="34" name="Группа 33"/>
            <p:cNvGrpSpPr/>
            <p:nvPr/>
          </p:nvGrpSpPr>
          <p:grpSpPr>
            <a:xfrm>
              <a:off x="3130771" y="4494765"/>
              <a:ext cx="5028947" cy="451104"/>
              <a:chOff x="3130771" y="4494765"/>
              <a:chExt cx="5028947" cy="451104"/>
            </a:xfrm>
          </p:grpSpPr>
          <p:cxnSp>
            <p:nvCxnSpPr>
              <p:cNvPr id="23" name="Прямая соединительная линия 22"/>
              <p:cNvCxnSpPr/>
              <p:nvPr/>
            </p:nvCxnSpPr>
            <p:spPr>
              <a:xfrm>
                <a:off x="3130771" y="4494765"/>
                <a:ext cx="0" cy="45110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Прямая соединительная линия 24"/>
              <p:cNvCxnSpPr/>
              <p:nvPr/>
            </p:nvCxnSpPr>
            <p:spPr>
              <a:xfrm>
                <a:off x="3130771" y="4945869"/>
                <a:ext cx="5028947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" name="Прямая со стрелкой 26"/>
            <p:cNvCxnSpPr/>
            <p:nvPr/>
          </p:nvCxnSpPr>
          <p:spPr>
            <a:xfrm>
              <a:off x="8153622" y="4958062"/>
              <a:ext cx="12192" cy="43891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Скругленная прямоугольная выноска 27"/>
          <p:cNvSpPr/>
          <p:nvPr/>
        </p:nvSpPr>
        <p:spPr>
          <a:xfrm>
            <a:off x="5771626" y="3699126"/>
            <a:ext cx="6047232" cy="1406947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Постановка бесхозяйного объекта на учет в </a:t>
            </a:r>
            <a:r>
              <a:rPr lang="ru-RU" sz="2000" b="1" dirty="0" err="1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Росреестре</a:t>
            </a:r>
            <a:endParaRPr lang="ru-RU" sz="2000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3554221" y="5106073"/>
            <a:ext cx="5023104" cy="877825"/>
            <a:chOff x="3596640" y="5766816"/>
            <a:chExt cx="5023104" cy="877825"/>
          </a:xfrm>
        </p:grpSpPr>
        <p:grpSp>
          <p:nvGrpSpPr>
            <p:cNvPr id="46" name="Группа 45"/>
            <p:cNvGrpSpPr/>
            <p:nvPr/>
          </p:nvGrpSpPr>
          <p:grpSpPr>
            <a:xfrm>
              <a:off x="3596640" y="5766816"/>
              <a:ext cx="5023104" cy="438912"/>
              <a:chOff x="3596640" y="5766816"/>
              <a:chExt cx="5023104" cy="438912"/>
            </a:xfrm>
          </p:grpSpPr>
          <p:cxnSp>
            <p:nvCxnSpPr>
              <p:cNvPr id="37" name="Прямая соединительная линия 36"/>
              <p:cNvCxnSpPr/>
              <p:nvPr/>
            </p:nvCxnSpPr>
            <p:spPr>
              <a:xfrm>
                <a:off x="8619744" y="5766816"/>
                <a:ext cx="0" cy="438912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Прямая соединительная линия 40"/>
              <p:cNvCxnSpPr/>
              <p:nvPr/>
            </p:nvCxnSpPr>
            <p:spPr>
              <a:xfrm flipH="1">
                <a:off x="3596640" y="6205728"/>
                <a:ext cx="5023104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3" name="Прямая со стрелкой 42"/>
            <p:cNvCxnSpPr/>
            <p:nvPr/>
          </p:nvCxnSpPr>
          <p:spPr>
            <a:xfrm>
              <a:off x="3596640" y="6205728"/>
              <a:ext cx="0" cy="43891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Скругленная прямоугольная выноска 44"/>
          <p:cNvSpPr/>
          <p:nvPr/>
        </p:nvSpPr>
        <p:spPr>
          <a:xfrm>
            <a:off x="530605" y="5986356"/>
            <a:ext cx="6047232" cy="1241040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Проведение согласно 44-ФЗ конкурсной процедуры для заключения договора о подготовке технической документации по бесхозяйным объектам 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423629" y="2952437"/>
            <a:ext cx="33060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в случае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обнаружения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обственника)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357731" y="5081689"/>
            <a:ext cx="33060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 прошествии 1 года от даты постановки на учет)</a:t>
            </a:r>
          </a:p>
        </p:txBody>
      </p:sp>
      <p:grpSp>
        <p:nvGrpSpPr>
          <p:cNvPr id="50" name="Группа 49"/>
          <p:cNvGrpSpPr/>
          <p:nvPr/>
        </p:nvGrpSpPr>
        <p:grpSpPr>
          <a:xfrm>
            <a:off x="3505328" y="7228683"/>
            <a:ext cx="5035043" cy="902209"/>
            <a:chOff x="3130771" y="4494765"/>
            <a:chExt cx="5035043" cy="902209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3130771" y="4494765"/>
              <a:ext cx="5028947" cy="451104"/>
              <a:chOff x="3130771" y="4494765"/>
              <a:chExt cx="5028947" cy="451104"/>
            </a:xfrm>
          </p:grpSpPr>
          <p:cxnSp>
            <p:nvCxnSpPr>
              <p:cNvPr id="53" name="Прямая соединительная линия 52"/>
              <p:cNvCxnSpPr/>
              <p:nvPr/>
            </p:nvCxnSpPr>
            <p:spPr>
              <a:xfrm>
                <a:off x="3130771" y="4494765"/>
                <a:ext cx="0" cy="451104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единительная линия 53"/>
              <p:cNvCxnSpPr/>
              <p:nvPr/>
            </p:nvCxnSpPr>
            <p:spPr>
              <a:xfrm>
                <a:off x="3130771" y="4945869"/>
                <a:ext cx="5028947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2" name="Прямая со стрелкой 51"/>
            <p:cNvCxnSpPr/>
            <p:nvPr/>
          </p:nvCxnSpPr>
          <p:spPr>
            <a:xfrm>
              <a:off x="8153622" y="4958062"/>
              <a:ext cx="12192" cy="43891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Box 54"/>
          <p:cNvSpPr txBox="1"/>
          <p:nvPr/>
        </p:nvSpPr>
        <p:spPr>
          <a:xfrm>
            <a:off x="3496308" y="7227396"/>
            <a:ext cx="50810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сле сбора и подготовки технической и иной подтверждающей документации)</a:t>
            </a:r>
          </a:p>
        </p:txBody>
      </p:sp>
      <p:sp>
        <p:nvSpPr>
          <p:cNvPr id="56" name="Скругленная прямоугольная выноска 55"/>
          <p:cNvSpPr/>
          <p:nvPr/>
        </p:nvSpPr>
        <p:spPr>
          <a:xfrm>
            <a:off x="5655802" y="8128543"/>
            <a:ext cx="6047232" cy="1406947"/>
          </a:xfrm>
          <a:prstGeom prst="wedgeRoundRectCallout">
            <a:avLst>
              <a:gd name="adj1" fmla="val 11669"/>
              <a:gd name="adj2" fmla="val -13"/>
              <a:gd name="adj3" fmla="val 16667"/>
            </a:avLst>
          </a:prstGeom>
          <a:solidFill>
            <a:schemeClr val="accent1">
              <a:lumMod val="20000"/>
              <a:lumOff val="80000"/>
              <a:alpha val="31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Обращение в судебные органы с заявлением о признании права муниципальной собственности на бесхозяйный объект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8" grpId="0" animBg="1"/>
      <p:bldP spid="45" grpId="0" animBg="1"/>
      <p:bldP spid="48" grpId="0"/>
      <p:bldP spid="49" grpId="0"/>
      <p:bldP spid="55" grpId="0"/>
      <p:bldP spid="5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C535AC-829C-423C-AAD6-A65EA3FAA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AC535AC-829C-423C-AAD6-A65EA3FAA4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2226AE4-5AB7-4A6E-BD88-B2F1E2C0A8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24AAD0-360C-4519-AA67-886C13422A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1164" y="3566312"/>
            <a:ext cx="8911159" cy="647421"/>
          </a:xfrm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50000"/>
              </a:lnSpc>
            </a:pPr>
            <a:r>
              <a:rPr lang="ru-RU" sz="3200" dirty="0"/>
              <a:t>СПАСИБО ЗА ВНИМАНИЕ!</a:t>
            </a:r>
            <a:endParaRPr lang="en-GB" sz="3200" dirty="0"/>
          </a:p>
        </p:txBody>
      </p:sp>
      <p:pic>
        <p:nvPicPr>
          <p:cNvPr id="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C2835199-5375-4D78-8F6F-26A840D61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826" y="301491"/>
            <a:ext cx="1404000" cy="166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506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EjX8MzkYyuGciE9wc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09</TotalTime>
  <Words>280</Words>
  <Application>Microsoft Office PowerPoint</Application>
  <PresentationFormat>A3 (297x420 мм)</PresentationFormat>
  <Paragraphs>71</Paragraphs>
  <Slides>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Arial</vt:lpstr>
      <vt:lpstr>Arial (Основной текст)</vt:lpstr>
      <vt:lpstr>Calibri</vt:lpstr>
      <vt:lpstr>Courier New</vt:lpstr>
      <vt:lpstr>Helvetica</vt:lpstr>
      <vt:lpstr>Times New Roman</vt:lpstr>
      <vt:lpstr>Wingdings</vt:lpstr>
      <vt:lpstr>Office Theme</vt:lpstr>
      <vt:lpstr>think-cell Slide</vt:lpstr>
      <vt:lpstr>Оформление бесхозяйных объектов электросетевого комплекса в муниципальную собственность</vt:lpstr>
      <vt:lpstr>Презентация PowerPoint</vt:lpstr>
      <vt:lpstr>ПРОЦЕДУРА  ПРИЗНАНИЯ БЕСХОЗЯЙНОГО ОБЪЕКТА МУНИЦИПАЛЬНОЙ СОБСТВЕННОСТЬЮ (ст. 225 ГК РФ)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РЕДНЕВЗВЕШЕННЫЙ ТАРИФ НА ЭЛЕКТРОЭНЕРГИЮ В ЗАБАЙКАЛЬСКОМ КРАЕ</dc:title>
  <dc:creator>Марина С. Скорникова</dc:creator>
  <cp:lastModifiedBy>Администратор@rst.loc</cp:lastModifiedBy>
  <cp:revision>449</cp:revision>
  <cp:lastPrinted>2020-05-21T11:06:37Z</cp:lastPrinted>
  <dcterms:modified xsi:type="dcterms:W3CDTF">2021-01-26T02:43:03Z</dcterms:modified>
</cp:coreProperties>
</file>